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sldIdLst>
    <p:sldId id="257" r:id="rId2"/>
  </p:sldIdLst>
  <p:sldSz cx="9144000" cy="6858000" type="screen4x3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488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EE8DA8-B04F-48F3-AB8A-0F1036E6F368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C6CB5D-B11E-4957-81C6-E2C3ADC0A2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3560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16077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b-NO" dirty="0" smtClean="0"/>
          </a:p>
        </p:txBody>
      </p:sp>
      <p:sp>
        <p:nvSpPr>
          <p:cNvPr id="1607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7427C682-5F14-4789-A7AB-78F04523B05E}" type="slidenum">
              <a:rPr lang="en-GB" sz="1300" smtClean="0">
                <a:solidFill>
                  <a:prstClr val="black"/>
                </a:solidFill>
              </a:rPr>
              <a:pPr/>
              <a:t>1</a:t>
            </a:fld>
            <a:endParaRPr lang="en-GB" sz="1300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376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7347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5699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5306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4363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351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14656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027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0123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004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017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B679FF-924A-425C-9A80-A66E1F4E1C94}" type="datetimeFigureOut">
              <a:rPr lang="en-US" smtClean="0"/>
              <a:t>9/17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C32582-984F-49C9-B463-EEE635B6C8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4245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154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7442311"/>
              </p:ext>
            </p:extLst>
          </p:nvPr>
        </p:nvGraphicFramePr>
        <p:xfrm>
          <a:off x="1373" y="1456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3" y="1456"/>
                        <a:ext cx="1357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6286010"/>
              </p:ext>
            </p:extLst>
          </p:nvPr>
        </p:nvGraphicFramePr>
        <p:xfrm>
          <a:off x="466975" y="837993"/>
          <a:ext cx="8353496" cy="3877603"/>
        </p:xfrm>
        <a:graphic>
          <a:graphicData uri="http://schemas.openxmlformats.org/drawingml/2006/table">
            <a:tbl>
              <a:tblPr>
                <a:tableStyleId>{ED083AE6-46FA-4A59-8FB0-9F97EB10719F}</a:tableStyleId>
              </a:tblPr>
              <a:tblGrid>
                <a:gridCol w="993936"/>
                <a:gridCol w="1139119"/>
                <a:gridCol w="3456274"/>
                <a:gridCol w="1752210"/>
                <a:gridCol w="1011957"/>
              </a:tblGrid>
              <a:tr h="34960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Suppliers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001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nputs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Process </a:t>
                      </a:r>
                      <a:r>
                        <a:rPr kumimoji="0" lang="en-US" sz="1000" b="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5-7 "main steps" of the process)</a:t>
                      </a:r>
                      <a:endParaRPr kumimoji="0" lang="en-US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Outputs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Customers  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8001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8001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8001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8001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8001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8001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8001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</a:t>
                      </a: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535353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/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8053230"/>
              </p:ext>
            </p:extLst>
          </p:nvPr>
        </p:nvGraphicFramePr>
        <p:xfrm>
          <a:off x="467544" y="4811976"/>
          <a:ext cx="8352929" cy="908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2527"/>
                <a:gridCol w="3223938"/>
                <a:gridCol w="1318884"/>
                <a:gridCol w="2857580"/>
              </a:tblGrid>
              <a:tr h="129192">
                <a:tc>
                  <a:txBody>
                    <a:bodyPr/>
                    <a:lstStyle/>
                    <a:p>
                      <a:pPr eaLnBrk="1"/>
                      <a:endParaRPr lang="en-US" sz="300" dirty="0"/>
                    </a:p>
                  </a:txBody>
                  <a:tcPr marL="9523" marR="9523" marT="9518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300" dirty="0"/>
                    </a:p>
                  </a:txBody>
                  <a:tcPr marL="91427" marR="91427" marT="45689" marB="45689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300" dirty="0"/>
                    </a:p>
                  </a:txBody>
                  <a:tcPr marL="91427" marR="91427" marT="45689" marB="45689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eaLnBrk="1"/>
                      <a:endParaRPr lang="en-US" sz="300" dirty="0"/>
                    </a:p>
                  </a:txBody>
                  <a:tcPr marL="91427" marR="91427" marT="45689" marB="45689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12584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cess Name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900" b="1" i="0" u="none" strike="noStrike" dirty="0">
                        <a:solidFill>
                          <a:srgbClr val="366092"/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oundaries of the process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800905" rtl="0" eaLnBrk="1" fontAlgn="b" latinLnBrk="0" hangingPunct="1"/>
                      <a:endParaRPr lang="en-US" sz="900" b="1" i="0" u="none" strike="noStrike" kern="1200" dirty="0">
                        <a:solidFill>
                          <a:srgbClr val="366092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960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cess </a:t>
                      </a:r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urpos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900" b="1" i="0" u="none" strike="noStrike" dirty="0">
                        <a:solidFill>
                          <a:srgbClr val="366092"/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PI’s in the process</a:t>
                      </a:r>
                    </a:p>
                  </a:txBody>
                  <a:tcPr marL="36000" marR="36000" marT="36000" marB="3600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800905" rtl="0" eaLnBrk="1" fontAlgn="b" latinLnBrk="0" hangingPunct="1"/>
                      <a:endParaRPr lang="en-US" sz="900" b="1" i="0" u="none" strike="noStrike" kern="1200" dirty="0">
                        <a:solidFill>
                          <a:srgbClr val="366092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9603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cess Owner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eaLnBrk="1" fontAlgn="b"/>
                      <a:endParaRPr lang="en-US" sz="900" b="1" i="0" u="none" strike="noStrike" dirty="0">
                        <a:solidFill>
                          <a:srgbClr val="366092"/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36000" marR="36000" marT="36000" marB="3600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l" defTabSz="800905" rtl="0" eaLnBrk="1" fontAlgn="b" latinLnBrk="0" hangingPunct="1"/>
                      <a:endParaRPr lang="en-US" sz="900" b="1" i="0" u="none" strike="noStrike" kern="1200" dirty="0">
                        <a:solidFill>
                          <a:srgbClr val="366092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9209" name="Title 1"/>
          <p:cNvSpPr>
            <a:spLocks noGrp="1"/>
          </p:cNvSpPr>
          <p:nvPr>
            <p:ph type="title"/>
          </p:nvPr>
        </p:nvSpPr>
        <p:spPr>
          <a:xfrm>
            <a:off x="467544" y="260629"/>
            <a:ext cx="8265139" cy="652251"/>
          </a:xfrm>
        </p:spPr>
        <p:txBody>
          <a:bodyPr>
            <a:normAutofit fontScale="90000"/>
          </a:bodyPr>
          <a:lstStyle/>
          <a:p>
            <a:pPr algn="l"/>
            <a:r>
              <a:rPr lang="en-US" sz="2000" dirty="0" smtClean="0">
                <a:solidFill>
                  <a:schemeClr val="tx1"/>
                </a:solidFill>
              </a:rPr>
              <a:t>SIPOC: </a:t>
            </a:r>
            <a:r>
              <a:rPr lang="en-US" sz="2000" i="1" dirty="0" smtClean="0">
                <a:solidFill>
                  <a:schemeClr val="tx1"/>
                </a:solidFill>
              </a:rPr>
              <a:t>Process NAME</a:t>
            </a:r>
            <a:r>
              <a:rPr lang="en-US" sz="2000" dirty="0" smtClean="0">
                <a:solidFill>
                  <a:schemeClr val="tx1"/>
                </a:solidFill>
              </a:rPr>
              <a:t/>
            </a:r>
            <a:br>
              <a:rPr lang="en-US" sz="2000" dirty="0" smtClean="0">
                <a:solidFill>
                  <a:schemeClr val="tx1"/>
                </a:solidFill>
              </a:rPr>
            </a:br>
            <a:endParaRPr lang="en-US" sz="2000" dirty="0"/>
          </a:p>
        </p:txBody>
      </p:sp>
      <p:sp>
        <p:nvSpPr>
          <p:cNvPr id="2" name="TextBox 1"/>
          <p:cNvSpPr txBox="1"/>
          <p:nvPr/>
        </p:nvSpPr>
        <p:spPr>
          <a:xfrm>
            <a:off x="6681045" y="103954"/>
            <a:ext cx="23042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i="1" dirty="0" smtClean="0"/>
              <a:t>Update: </a:t>
            </a:r>
            <a:r>
              <a:rPr lang="en-US" sz="1000" i="1" dirty="0" err="1" smtClean="0"/>
              <a:t>dd</a:t>
            </a:r>
            <a:r>
              <a:rPr lang="en-US" sz="1000" i="1" dirty="0" smtClean="0"/>
              <a:t>/mm/</a:t>
            </a:r>
            <a:r>
              <a:rPr lang="en-US" sz="1000" i="1" dirty="0" err="1" smtClean="0"/>
              <a:t>yyyy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1371995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</TotalTime>
  <Words>44</Words>
  <Application>Microsoft Office PowerPoint</Application>
  <PresentationFormat>On-screen Show (4:3)</PresentationFormat>
  <Paragraphs>20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Office Theme</vt:lpstr>
      <vt:lpstr>think-cell Slide</vt:lpstr>
      <vt:lpstr>SIPOC: Process NAME </vt:lpstr>
    </vt:vector>
  </TitlesOfParts>
  <Company>Statoil Fuel &amp; Retai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POC: Process NAME</dc:title>
  <dc:creator>Gatis Šiliņš</dc:creator>
  <cp:lastModifiedBy>Gatis Šiliņš</cp:lastModifiedBy>
  <cp:revision>5</cp:revision>
  <dcterms:created xsi:type="dcterms:W3CDTF">2016-08-10T12:52:50Z</dcterms:created>
  <dcterms:modified xsi:type="dcterms:W3CDTF">2016-09-16T22:00:00Z</dcterms:modified>
</cp:coreProperties>
</file>